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9"/>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5A97CC5E-13B0-4592-B7B1-0BA19B9CCCA3}">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notesMaster" Target="notesMasters/notesMaster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63" Type="http://schemas.openxmlformats.org/officeDocument/2006/relationships/tableStyles" Target="tableStyles.xml"/><Relationship Id="rId64" Type="http://schemas.microsoft.com/office/2015/10/relationships/revisionInfo" Target="revisionInfo.xml"/><Relationship Id="rId6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1351024093309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294308966746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097690386842534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356557119968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265451767866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34983942148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2968784309216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6186225612015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5822252953580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40113096050759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135045803923422</c:v>
                </c:pt>
                <c:pt idx="3">
                  <c:v>0.2032681333881673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979306261266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6813552239820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6</c:v>
                </c:pt>
                <c:pt idx="3">
                  <c:v>0.996838340243620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2026178211166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25189120413661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0622209654495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81630693981008</c:v>
                </c:pt>
                <c:pt idx="3">
                  <c:v>0.237318983163999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933572266504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6</c:v>
                </c:pt>
                <c:pt idx="3">
                  <c:v>0.996838340243620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72071954804030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6</c:v>
                </c:pt>
                <c:pt idx="3">
                  <c:v>0.996838340243620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2026178211166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60528714059460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0622209654495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16526294794011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81630693981008</c:v>
                </c:pt>
                <c:pt idx="3">
                  <c:v>0.237318983163999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636370625386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3719503273675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294308966746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356557119968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265451767866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34983942148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933572266504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6</c:v>
                </c:pt>
                <c:pt idx="3">
                  <c:v>0.996838340243620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2968784309216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93702103845681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5822252953580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72071954804030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135045803923422</c:v>
                </c:pt>
                <c:pt idx="3">
                  <c:v>0.2032681333881673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979306261266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6813552239820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6</c:v>
                </c:pt>
                <c:pt idx="3">
                  <c:v>0.996838340243620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2026178211166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0622209654495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75051310165658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81630693981008</c:v>
                </c:pt>
                <c:pt idx="3">
                  <c:v>0.237318983163999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674957833029067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933572266504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6</c:v>
                </c:pt>
                <c:pt idx="3">
                  <c:v>0.996838340243620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72071954804030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98212894064616</c:v>
                </c:pt>
                <c:pt idx="3">
                  <c:v>0.1803280510685083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636370625386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294308966746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17706830149946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356557119968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2359444477614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265451767866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34983942148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2968784309216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5822252953580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44822578294634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135045803923422</c:v>
                </c:pt>
                <c:pt idx="3">
                  <c:v>0.2032681333881673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131737742544986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9793062612660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6813552239820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96111445271682</c:v>
                </c:pt>
                <c:pt idx="3">
                  <c:v>0.157133763722484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636370625386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9655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75041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67266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8622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82383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5103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79765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43997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4231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5525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83684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16761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354367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049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4157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97190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81149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2720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93983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3158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75752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36945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994275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723961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0608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346795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70558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47884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730210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47436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4941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040167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15244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05469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315147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406266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67111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02577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5153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19375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673266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844056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327477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09038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203100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60251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09528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801214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63987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2336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98108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1004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87198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09132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506</Words>
  <Application>Microsoft Office PowerPoint</Application>
  <PresentationFormat>On-screen Show (16:9)</PresentationFormat>
  <Paragraphs>2268</Paragraphs>
  <Slides>54</Slides>
  <Notes>5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